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2147140411" r:id="rId5"/>
    <p:sldId id="2147140511" r:id="rId6"/>
    <p:sldId id="2147140525" r:id="rId7"/>
    <p:sldId id="2147140425" r:id="rId8"/>
    <p:sldId id="2147140484" r:id="rId9"/>
    <p:sldId id="2147140528" r:id="rId10"/>
    <p:sldId id="2147140537" r:id="rId11"/>
    <p:sldId id="2147140529" r:id="rId12"/>
    <p:sldId id="2147140538" r:id="rId13"/>
    <p:sldId id="2147140485" r:id="rId14"/>
    <p:sldId id="2147140506" r:id="rId15"/>
    <p:sldId id="2147140530" r:id="rId16"/>
    <p:sldId id="2147140489" r:id="rId17"/>
    <p:sldId id="2147140497" r:id="rId18"/>
    <p:sldId id="2147140510" r:id="rId19"/>
    <p:sldId id="2147140536" r:id="rId20"/>
    <p:sldId id="2147140490" r:id="rId21"/>
    <p:sldId id="2147140524" r:id="rId22"/>
    <p:sldId id="2147140509" r:id="rId23"/>
    <p:sldId id="2147140513" r:id="rId24"/>
    <p:sldId id="2147140514" r:id="rId25"/>
    <p:sldId id="2147140515" r:id="rId26"/>
    <p:sldId id="2147140533" r:id="rId27"/>
    <p:sldId id="2147140516" r:id="rId28"/>
    <p:sldId id="2147140539" r:id="rId29"/>
    <p:sldId id="2147140448" r:id="rId30"/>
    <p:sldId id="2147140523" r:id="rId31"/>
    <p:sldId id="2147140455" r:id="rId32"/>
    <p:sldId id="2147140479" r:id="rId33"/>
    <p:sldId id="2147140531" r:id="rId34"/>
    <p:sldId id="2147140532" r:id="rId35"/>
    <p:sldId id="2147140534" r:id="rId36"/>
    <p:sldId id="2147140517" r:id="rId37"/>
    <p:sldId id="2147140518" r:id="rId38"/>
    <p:sldId id="2147140520" r:id="rId39"/>
    <p:sldId id="2147140519" r:id="rId40"/>
    <p:sldId id="2147140527" r:id="rId41"/>
    <p:sldId id="2147140526" r:id="rId42"/>
    <p:sldId id="2147140421" r:id="rId43"/>
    <p:sldId id="2147140522" r:id="rId44"/>
    <p:sldId id="2147140423" r:id="rId45"/>
    <p:sldId id="2147140458" r:id="rId46"/>
    <p:sldId id="2147140424" r:id="rId47"/>
    <p:sldId id="2147140450" r:id="rId48"/>
    <p:sldId id="2147140481" r:id="rId49"/>
    <p:sldId id="2147140451" r:id="rId50"/>
  </p:sldIdLst>
  <p:sldSz cx="12192000" cy="6858000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525"/>
            <p14:sldId id="2147140425"/>
            <p14:sldId id="2147140484"/>
            <p14:sldId id="2147140528"/>
            <p14:sldId id="2147140537"/>
            <p14:sldId id="2147140529"/>
            <p14:sldId id="2147140538"/>
            <p14:sldId id="2147140485"/>
            <p14:sldId id="2147140506"/>
            <p14:sldId id="2147140530"/>
            <p14:sldId id="2147140489"/>
            <p14:sldId id="2147140497"/>
            <p14:sldId id="2147140510"/>
            <p14:sldId id="2147140536"/>
            <p14:sldId id="2147140490"/>
            <p14:sldId id="2147140524"/>
            <p14:sldId id="2147140509"/>
            <p14:sldId id="2147140513"/>
            <p14:sldId id="2147140514"/>
            <p14:sldId id="2147140515"/>
            <p14:sldId id="2147140533"/>
            <p14:sldId id="2147140516"/>
            <p14:sldId id="2147140539"/>
            <p14:sldId id="2147140448"/>
            <p14:sldId id="2147140523"/>
            <p14:sldId id="2147140455"/>
            <p14:sldId id="2147140479"/>
            <p14:sldId id="2147140531"/>
            <p14:sldId id="2147140532"/>
            <p14:sldId id="2147140534"/>
            <p14:sldId id="2147140517"/>
            <p14:sldId id="2147140518"/>
            <p14:sldId id="2147140520"/>
            <p14:sldId id="2147140519"/>
            <p14:sldId id="2147140527"/>
            <p14:sldId id="2147140526"/>
            <p14:sldId id="2147140421"/>
            <p14:sldId id="2147140522"/>
            <p14:sldId id="2147140423"/>
            <p14:sldId id="2147140458"/>
            <p14:sldId id="2147140424"/>
            <p14:sldId id="2147140450"/>
            <p14:sldId id="2147140481"/>
            <p14:sldId id="214714045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29"/>
    <p:restoredTop sz="94605"/>
  </p:normalViewPr>
  <p:slideViewPr>
    <p:cSldViewPr snapToGrid="0">
      <p:cViewPr varScale="1">
        <p:scale>
          <a:sx n="65" d="100"/>
          <a:sy n="65" d="100"/>
        </p:scale>
        <p:origin x="29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microsoft.com/office/2018/10/relationships/authors" Target="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5279-AA43-3D2C-43F7-C5FDBF875E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18A083-BE1A-71E3-1349-7135449379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A0C0E-3328-9C95-AE57-2DA5F6C588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11820-8F2D-9D8D-C631-ABCD3B2527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63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02CD0-6281-C6E0-158D-E9CA874A9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929D36-225A-ED14-C11D-A8EC97EE6D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1BD88-932B-6293-7283-6E3497EF0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84F7F-53AE-7104-1E5E-5D2C5D9A4B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6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3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1.xml"/><Relationship Id="rId2" Type="http://schemas.openxmlformats.org/officeDocument/2006/relationships/hyperlink" Target="https://www.blueprintinstitute.org.au/jobmatcher_real_unemployment_insurance" TargetMode="External"/><Relationship Id="rId1" Type="http://schemas.openxmlformats.org/officeDocument/2006/relationships/slideLayout" Target="../slideLayouts/slideLayout22.xml"/><Relationship Id="rId4" Type="http://schemas.openxmlformats.org/officeDocument/2006/relationships/slide" Target="slide3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4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4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4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>
                <a:latin typeface="Graphik"/>
              </a:rPr>
              <a:t>Consumption, job loss, and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247904"/>
            <a:ext cx="4698834" cy="307777"/>
          </a:xfrm>
        </p:spPr>
        <p:txBody>
          <a:bodyPr/>
          <a:lstStyle/>
          <a:p>
            <a:r>
              <a:rPr lang="en-US" dirty="0"/>
              <a:t>XXX – Nov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B0E6651-2B0B-3355-6B3E-6C72AE7EF88B}"/>
              </a:ext>
            </a:extLst>
          </p:cNvPr>
          <p:cNvSpPr txBox="1">
            <a:spLocks/>
          </p:cNvSpPr>
          <p:nvPr/>
        </p:nvSpPr>
        <p:spPr>
          <a:xfrm>
            <a:off x="7207417" y="5895310"/>
            <a:ext cx="469883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20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206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914411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371617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828823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Pelin Akyol, Erin Clarke, Gianni La Cava, and Matt Nolan</a:t>
            </a:r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nditure Scar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AB3170-C976-B449-FF96-84F49E63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B25034-6B57-4827-BE35-2CF90AA731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C54B01-8DE0-FC05-43D9-479B99B79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EB7AE-B98D-353B-E4E0-20522F4A6DA3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919C8-A1E4-8030-46F0-146A718266E1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B7126BF7-43EC-3001-0FD6-C33345677F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55CF3D79-A960-3D6E-C9BE-2AF43FECF9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84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11606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ur intention is to describe the </a:t>
            </a:r>
            <a:r>
              <a:rPr lang="en-US" i="1" dirty="0"/>
              <a:t>selection </a:t>
            </a:r>
            <a:r>
              <a:rPr lang="en-US" dirty="0"/>
              <a:t>involved in being approved or not approved (</a:t>
            </a:r>
            <a:r>
              <a:rPr lang="en-US" b="1" dirty="0"/>
              <a:t>not a causal estimate</a:t>
            </a:r>
            <a:r>
              <a:rPr lang="en-US" dirty="0"/>
              <a:t>).</a:t>
            </a:r>
            <a:endParaRPr lang="en-NZ" i="1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1C059-C452-D6D6-CF25-65FEB08FFF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7E26EF-1CD9-4F7E-181B-54667771A8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1D447-EBCD-B7F4-0D55-2BE05C0E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 type: Partnership statu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29993-7279-1E20-1C17-94402BEC1BAB}"/>
              </a:ext>
            </a:extLst>
          </p:cNvPr>
          <p:cNvSpPr txBox="1"/>
          <p:nvPr/>
        </p:nvSpPr>
        <p:spPr>
          <a:xfrm>
            <a:off x="370417" y="1272957"/>
            <a:ext cx="9530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ntire difference due to individuals who are partnered who take-up the payment</a:t>
            </a:r>
            <a:endParaRPr lang="en-NZ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602B0E-E4BC-689E-A56E-37ED8EA7F679}"/>
              </a:ext>
            </a:extLst>
          </p:cNvPr>
          <p:cNvSpPr txBox="1"/>
          <p:nvPr/>
        </p:nvSpPr>
        <p:spPr>
          <a:xfrm>
            <a:off x="370416" y="5400377"/>
            <a:ext cx="1100147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mited </a:t>
            </a:r>
            <a:r>
              <a:rPr lang="en-US" b="1" dirty="0"/>
              <a:t>partnered non-recipient</a:t>
            </a:r>
            <a:r>
              <a:rPr lang="en-US" dirty="0"/>
              <a:t> response indicates that partner income testing may be appropri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response by </a:t>
            </a:r>
            <a:r>
              <a:rPr lang="en-US" b="1" dirty="0"/>
              <a:t>partnered recipients</a:t>
            </a:r>
            <a:r>
              <a:rPr lang="en-US" dirty="0"/>
              <a:t> suggests that this group is significantly constrained after a </a:t>
            </a:r>
            <a:br>
              <a:rPr lang="en-US" dirty="0"/>
            </a:br>
            <a:r>
              <a:rPr lang="en-US" dirty="0"/>
              <a:t>job loss shock - may motivate higher couple payments</a:t>
            </a:r>
            <a:endParaRPr lang="en-NZ" dirty="0"/>
          </a:p>
        </p:txBody>
      </p:sp>
      <p:pic>
        <p:nvPicPr>
          <p:cNvPr id="18" name="Picture 1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21AD909C-0A95-9A60-1280-817756C56F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657" y="1874736"/>
            <a:ext cx="4211720" cy="3352185"/>
          </a:xfrm>
          <a:prstGeom prst="rect">
            <a:avLst/>
          </a:prstGeom>
        </p:spPr>
      </p:pic>
      <p:pic>
        <p:nvPicPr>
          <p:cNvPr id="20" name="Picture 19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7299BDE0-5A15-94A9-7E54-219D1B34D8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30" y="1835407"/>
            <a:ext cx="4378490" cy="348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13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recipients and the role of employment</a:t>
            </a:r>
            <a:endParaRPr lang="en-N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019034" y="1464503"/>
            <a:ext cx="3379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employment</a:t>
            </a:r>
            <a:endParaRPr lang="en-NZ" b="1" dirty="0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6911843" y="1454167"/>
            <a:ext cx="4035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Conditional on household income</a:t>
            </a:r>
            <a:endParaRPr lang="en-NZ" b="1" dirty="0">
              <a:solidFill>
                <a:srgbClr val="206166"/>
              </a:solidFill>
            </a:endParaRPr>
          </a:p>
        </p:txBody>
      </p:sp>
      <p:pic>
        <p:nvPicPr>
          <p:cNvPr id="5" name="Picture 4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7F6D24BB-E216-F2F2-2F61-9E016926C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50" y="2207557"/>
            <a:ext cx="4707568" cy="36507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BCAACA-FC47-A707-C576-B823C81ABA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596" y="2119223"/>
            <a:ext cx="4907571" cy="37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: Reform for “unemployment insuranc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104268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Zealand Unemployment Insurance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lief that wage scarring is hig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t wage scarring is a product of “insufficient insurance” and “poor match quality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at providing greater social insurance to “pool risk” would reduce such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tivated a scheme offering 80% replacement rate for six months, without search requirements, </a:t>
            </a:r>
            <a:br>
              <a:rPr lang="en-AU" dirty="0"/>
            </a:br>
            <a:r>
              <a:rPr lang="en-AU" dirty="0"/>
              <a:t>for all individual up to the top 2% of the wage distribu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C78A00-5414-A664-0FEB-1BD9C6B98196}"/>
              </a:ext>
            </a:extLst>
          </p:cNvPr>
          <p:cNvSpPr txBox="1"/>
          <p:nvPr/>
        </p:nvSpPr>
        <p:spPr>
          <a:xfrm>
            <a:off x="317238" y="3199164"/>
            <a:ext cx="115575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e of these have been shown empirically in New Zealand or in Australia (who have similar benefit systems)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8B7B73-E04C-1449-E6D7-E5B52C728DA1}"/>
              </a:ext>
            </a:extLst>
          </p:cNvPr>
          <p:cNvSpPr txBox="1"/>
          <p:nvPr/>
        </p:nvSpPr>
        <p:spPr>
          <a:xfrm>
            <a:off x="317238" y="3800817"/>
            <a:ext cx="10310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also has been raised in Australia with a focus on match quality (</a:t>
            </a:r>
            <a:r>
              <a:rPr lang="en-US" dirty="0" err="1">
                <a:hlinkClick r:id="rId2"/>
              </a:rPr>
              <a:t>JobMatcher</a:t>
            </a:r>
            <a:r>
              <a:rPr lang="en-US" dirty="0">
                <a:hlinkClick r:id="rId2"/>
              </a:rPr>
              <a:t> - Blueprint 2021</a:t>
            </a:r>
            <a:r>
              <a:rPr lang="en-US" dirty="0"/>
              <a:t>)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EBF43-04DE-08BB-0E16-83603C574FAB}"/>
              </a:ext>
            </a:extLst>
          </p:cNvPr>
          <p:cNvSpPr txBox="1"/>
          <p:nvPr/>
        </p:nvSpPr>
        <p:spPr>
          <a:xfrm>
            <a:off x="317238" y="4402470"/>
            <a:ext cx="1037136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though the evidence base is larger in Australia (thanks to work by TTPI and Melbourne Institute), </a:t>
            </a:r>
          </a:p>
          <a:p>
            <a:r>
              <a:rPr lang="en-US" dirty="0"/>
              <a:t>there are still areas to investigate this further before it is raised again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ge scarring estimates and the role of match quality. </a:t>
            </a:r>
            <a:r>
              <a:rPr lang="en-US" dirty="0">
                <a:hlinkClick r:id="rId3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bour supply responses to replacement rate changes. </a:t>
            </a:r>
            <a:r>
              <a:rPr lang="en-US" dirty="0">
                <a:hlinkClick r:id="rId4" action="ppaction://hlinksldjump"/>
              </a:rPr>
              <a:t>Appendix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/consumption responses to job loss (</a:t>
            </a:r>
            <a:r>
              <a:rPr lang="en-US" b="1" dirty="0"/>
              <a:t>the focus</a:t>
            </a:r>
            <a:r>
              <a:rPr lang="en-US" dirty="0"/>
              <a:t>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8D31C9-AF91-0D5C-D9F7-13BE468B3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D5A2DD-83B2-1042-52A9-4D28A1A870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03290A-B829-F545-9692-B2D186B5E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age</a:t>
            </a:r>
            <a:endParaRPr lang="en-NZ" dirty="0"/>
          </a:p>
        </p:txBody>
      </p:sp>
      <p:pic>
        <p:nvPicPr>
          <p:cNvPr id="5" name="Picture 4" descr="A graph with green and blue dots&#10;&#10;Description automatically generated">
            <a:extLst>
              <a:ext uri="{FF2B5EF4-FFF2-40B4-BE49-F238E27FC236}">
                <a16:creationId xmlns:a16="http://schemas.microsoft.com/office/drawing/2014/main" id="{823883A4-5801-E5D0-6EF5-430337FC4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2671"/>
            <a:ext cx="6867956" cy="49964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2A022E-56B0-75C7-DF82-8A7616921FDA}"/>
              </a:ext>
            </a:extLst>
          </p:cNvPr>
          <p:cNvSpPr txBox="1"/>
          <p:nvPr/>
        </p:nvSpPr>
        <p:spPr>
          <a:xfrm>
            <a:off x="6605086" y="751344"/>
            <a:ext cx="5586914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r sample is all individuals who are employed</a:t>
            </a:r>
            <a:br>
              <a:rPr lang="en-US" dirty="0"/>
            </a:br>
            <a:r>
              <a:rPr lang="en-US" dirty="0"/>
              <a:t>and don’t work from home in FY18 and FY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rument is the industry-occupation level share </a:t>
            </a:r>
            <a:br>
              <a:rPr lang="en-US" dirty="0"/>
            </a:br>
            <a:r>
              <a:rPr lang="en-US" dirty="0"/>
              <a:t>of employees working from home in 2019 (for all </a:t>
            </a:r>
            <a:br>
              <a:rPr lang="en-US" dirty="0"/>
            </a:br>
            <a:r>
              <a:rPr lang="en-US" dirty="0"/>
              <a:t>employe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b="1" dirty="0"/>
              <a:t>relevance</a:t>
            </a:r>
            <a:r>
              <a:rPr lang="en-US" dirty="0"/>
              <a:t>, we would need the probability of</a:t>
            </a:r>
            <a:br>
              <a:rPr lang="en-US" dirty="0"/>
            </a:br>
            <a:r>
              <a:rPr lang="en-US" dirty="0"/>
              <a:t>working from home in 2020 to increase with the</a:t>
            </a:r>
            <a:br>
              <a:rPr lang="en-US" dirty="0"/>
            </a:br>
            <a:r>
              <a:rPr lang="en-US" dirty="0"/>
              <a:t>industry-occupation share (i.e. Barti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-stat: 218 (not a weak instru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ppt increase in </a:t>
            </a:r>
            <a:r>
              <a:rPr lang="en-US" dirty="0" err="1"/>
              <a:t>ind:occ</a:t>
            </a:r>
            <a:r>
              <a:rPr lang="en-US" dirty="0"/>
              <a:t> WFH share, 4.2ppt </a:t>
            </a:r>
            <a:br>
              <a:rPr lang="en-US" dirty="0"/>
            </a:br>
            <a:r>
              <a:rPr lang="en-US" dirty="0"/>
              <a:t>higher probability of WFH during COV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clusion</a:t>
            </a:r>
            <a:r>
              <a:rPr lang="en-US" dirty="0"/>
              <a:t>: prior industry-occupation must not </a:t>
            </a:r>
            <a:br>
              <a:rPr lang="en-US" dirty="0"/>
            </a:br>
            <a:r>
              <a:rPr lang="en-US" dirty="0"/>
              <a:t>influence consumption directly (control channel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Job-loss ris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ome and employment stat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11105754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144863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1716950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3220" y="2344209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244911" y="5171532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23369-6B93-2A31-0C8A-F9676888A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E25CE3-8CF9-BAD5-8659-9586C30794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BF637F-EBC4-E490-D501-DBD6C35D2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Working from home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AB7A00-9133-FF79-79E2-A4A911742BA8}"/>
              </a:ext>
            </a:extLst>
          </p:cNvPr>
          <p:cNvSpPr txBox="1"/>
          <p:nvPr/>
        </p:nvSpPr>
        <p:spPr>
          <a:xfrm>
            <a:off x="370417" y="1144862"/>
            <a:ext cx="6453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on into Working From Home not Exogenous – IV approach</a:t>
            </a:r>
            <a:endParaRPr lang="en-NZ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52B36-BA92-16BE-6EDC-96B5BFA5497B}"/>
              </a:ext>
            </a:extLst>
          </p:cNvPr>
          <p:cNvSpPr txBox="1"/>
          <p:nvPr/>
        </p:nvSpPr>
        <p:spPr>
          <a:xfrm>
            <a:off x="370417" y="2296818"/>
            <a:ext cx="586323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 stronger for partnered household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7% reduction in spending when WFH – 15% for those without children, and 21% for those with childr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te: Household consumption, but this is just the individual working from hom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ponse much weaker for single individuals (2%, insignifican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lthough sole parents have a large estimated response (17%) there are few observations </a:t>
            </a:r>
            <a:br>
              <a:rPr lang="en-US" dirty="0"/>
            </a:br>
            <a:r>
              <a:rPr lang="en-US" dirty="0"/>
              <a:t>and the instrument is weak. </a:t>
            </a:r>
            <a:endParaRPr lang="en-NZ" dirty="0"/>
          </a:p>
        </p:txBody>
      </p:sp>
      <p:pic>
        <p:nvPicPr>
          <p:cNvPr id="8" name="Picture 7" descr="A graph of a couple working from home&#10;&#10;Description automatically generated">
            <a:extLst>
              <a:ext uri="{FF2B5EF4-FFF2-40B4-BE49-F238E27FC236}">
                <a16:creationId xmlns:a16="http://schemas.microsoft.com/office/drawing/2014/main" id="{C476341D-6FDB-F74D-318A-8E4F4126EB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283" y="1144863"/>
            <a:ext cx="50673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2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ckground information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280818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2153192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f individuals can </a:t>
            </a:r>
            <a:r>
              <a:rPr lang="en-US" b="1"/>
              <a:t>perfectly insure</a:t>
            </a:r>
            <a:r>
              <a:rPr lang="en-US"/>
              <a:t> against job loss risk, there should be no change in consumption from job loss.</a:t>
            </a:r>
            <a:endParaRPr lang="en-AU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429000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3105834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8" y="5477676"/>
            <a:ext cx="6367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/>
              <a:t>labour supply responses</a:t>
            </a:r>
            <a:r>
              <a:rPr lang="en-US" dirty="0"/>
              <a:t>). [not value of leisure or match quality]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2218" y="3992379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9477BC-831E-333B-188C-DE1C571B4B67}"/>
              </a:ext>
            </a:extLst>
          </p:cNvPr>
          <p:cNvSpPr txBox="1"/>
          <p:nvPr/>
        </p:nvSpPr>
        <p:spPr>
          <a:xfrm>
            <a:off x="366298" y="473280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household insurance ends up similar to the US (Morley et al 2024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0B836-ABDE-569C-3291-7DF13E88F0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538F77-65C2-7941-2A80-07BD71BB91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t yet treated and balanced pan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0245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1CC6-873F-9B81-8C11-C8898FEE3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E92A94-5485-98BC-CAC3-A37C749FB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EADBD9A6-60E9-CF50-8120-4CD43258A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Not-yet treated</a:t>
            </a:r>
            <a:endParaRPr lang="en-US" dirty="0"/>
          </a:p>
        </p:txBody>
      </p:sp>
      <p:pic>
        <p:nvPicPr>
          <p:cNvPr id="6" name="Picture 5" descr="A graph of a number of patients with a number of patients with a number of patients with a number of patients with a number of patients with a number of patients with a number of patients with a&#10;&#10;Description automatically generated">
            <a:extLst>
              <a:ext uri="{FF2B5EF4-FFF2-40B4-BE49-F238E27FC236}">
                <a16:creationId xmlns:a16="http://schemas.microsoft.com/office/drawing/2014/main" id="{9B012E3A-7FE6-449C-2768-3A53E9D00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926851"/>
            <a:ext cx="5600700" cy="3524250"/>
          </a:xfrm>
          <a:prstGeom prst="rect">
            <a:avLst/>
          </a:prstGeom>
        </p:spPr>
      </p:pic>
      <p:pic>
        <p:nvPicPr>
          <p:cNvPr id="2" name="Picture 1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0B728827-B7B5-8742-0D7C-0215A7947A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51" y="1891938"/>
            <a:ext cx="5154649" cy="355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28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26A6EB-C6D6-BDC1-0A63-68727BBF3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94ED7E-6D98-EAA1-7C8D-D7E9A8EC5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E92A94-5485-98BC-CAC3-A37C749FB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B2296D1-D7D8-8316-44CC-3055D39E7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Balanced panel</a:t>
            </a:r>
            <a:endParaRPr lang="en-US" dirty="0"/>
          </a:p>
        </p:txBody>
      </p:sp>
      <p:pic>
        <p:nvPicPr>
          <p:cNvPr id="6" name="Picture 5" descr="A graph with a line&#10;&#10;Description automatically generated">
            <a:extLst>
              <a:ext uri="{FF2B5EF4-FFF2-40B4-BE49-F238E27FC236}">
                <a16:creationId xmlns:a16="http://schemas.microsoft.com/office/drawing/2014/main" id="{9D3088C0-BAFA-BBB7-35A4-2D3FB9070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91" y="1396813"/>
            <a:ext cx="56007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554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020AF-6577-4E7F-B0B0-85697A65C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041848-50CE-0D86-531C-5895F2C828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EF547-84C6-45FE-0759-66FCEB224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Margin: COVID Benefit Changes</a:t>
            </a:r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BC2C7-A78A-1C64-480F-FE077E344480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BA27BC-B498-F4B4-06B0-687CB07BAB69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ADE55D-28F0-0DED-092C-335668167922}"/>
              </a:ext>
            </a:extLst>
          </p:cNvPr>
          <p:cNvSpPr txBox="1"/>
          <p:nvPr/>
        </p:nvSpPr>
        <p:spPr>
          <a:xfrm>
            <a:off x="477994" y="2117224"/>
            <a:ext cx="87891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.7ppt (19%) decline in JFR after announcement (both RDD and </a:t>
            </a:r>
            <a:r>
              <a:rPr lang="en-US" dirty="0" err="1"/>
              <a:t>DiD</a:t>
            </a:r>
            <a:r>
              <a:rPr lang="en-US" dirty="0"/>
              <a:t> estimat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abour supply elasticity of -0.21%</a:t>
            </a:r>
            <a:endParaRPr lang="en-NZ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C8937A-194B-00B4-6BD1-2B58DC33C165}"/>
              </a:ext>
            </a:extLst>
          </p:cNvPr>
          <p:cNvSpPr txBox="1"/>
          <p:nvPr/>
        </p:nvSpPr>
        <p:spPr>
          <a:xfrm>
            <a:off x="477994" y="2763555"/>
            <a:ext cx="8455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.7ppt (64%) increase in SR after announcement (RDD suggests 5ppt (106%)</a:t>
            </a:r>
            <a:endParaRPr lang="en-NZ" dirty="0"/>
          </a:p>
        </p:txBody>
      </p:sp>
      <p:pic>
        <p:nvPicPr>
          <p:cNvPr id="10" name="Picture 9" descr="A graph of a job finding&#10;&#10;Description automatically generated">
            <a:extLst>
              <a:ext uri="{FF2B5EF4-FFF2-40B4-BE49-F238E27FC236}">
                <a16:creationId xmlns:a16="http://schemas.microsoft.com/office/drawing/2014/main" id="{A58C9D56-8997-9D35-273C-D98D4E7FF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9" y="3429000"/>
            <a:ext cx="3317658" cy="3024260"/>
          </a:xfrm>
          <a:prstGeom prst="rect">
            <a:avLst/>
          </a:prstGeom>
        </p:spPr>
      </p:pic>
      <p:pic>
        <p:nvPicPr>
          <p:cNvPr id="13" name="Picture 12" descr="A graph of a line graph&#10;&#10;Description automatically generated with medium confidence">
            <a:extLst>
              <a:ext uri="{FF2B5EF4-FFF2-40B4-BE49-F238E27FC236}">
                <a16:creationId xmlns:a16="http://schemas.microsoft.com/office/drawing/2014/main" id="{C58C573A-6DAF-E832-D8BF-5746447ED3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609" y="3417611"/>
            <a:ext cx="3483628" cy="317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7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F72C9-7254-985E-51B2-3FED210569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F11267-E67A-6D81-BBE7-44F5EC4DA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AU" dirty="0"/>
              <a:t>age/income scarring</a:t>
            </a:r>
          </a:p>
        </p:txBody>
      </p:sp>
    </p:spTree>
    <p:extLst>
      <p:ext uri="{BB962C8B-B14F-4D97-AF65-F5344CB8AC3E}">
        <p14:creationId xmlns:p14="http://schemas.microsoft.com/office/powerpoint/2010/main" val="12737600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A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6A3AD3-379F-3F40-91AA-24DD5BB88CCB}"/>
              </a:ext>
            </a:extLst>
          </p:cNvPr>
          <p:cNvGrpSpPr/>
          <p:nvPr/>
        </p:nvGrpSpPr>
        <p:grpSpPr>
          <a:xfrm>
            <a:off x="598813" y="3080718"/>
            <a:ext cx="10178291" cy="3087328"/>
            <a:chOff x="598813" y="3340823"/>
            <a:chExt cx="10178291" cy="308732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A73F7A8-E740-D775-F5E5-2CB53D84C18F}"/>
                </a:ext>
              </a:extLst>
            </p:cNvPr>
            <p:cNvSpPr txBox="1"/>
            <p:nvPr/>
          </p:nvSpPr>
          <p:spPr>
            <a:xfrm flipH="1">
              <a:off x="598813" y="4209894"/>
              <a:ext cx="8553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/>
                <a:t>Other lessons</a:t>
              </a:r>
              <a:endParaRPr lang="en-A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60A2F4A-0C3E-AF4A-22B7-A2FAEF821371}"/>
                </a:ext>
              </a:extLst>
            </p:cNvPr>
            <p:cNvSpPr txBox="1"/>
            <p:nvPr/>
          </p:nvSpPr>
          <p:spPr>
            <a:xfrm flipH="1">
              <a:off x="778313" y="4673825"/>
              <a:ext cx="9998791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Elevated job loss expectations explain part of the initial declin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Voluntarily displaced individuals, and individuals who don’t take up benefits, experience smaller declin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Work related expenses appear to explain most of the initial decline in expenditure for non-recipient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AU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565D1D-091E-27D7-AE4A-367E69FA18FB}"/>
                </a:ext>
              </a:extLst>
            </p:cNvPr>
            <p:cNvSpPr txBox="1"/>
            <p:nvPr/>
          </p:nvSpPr>
          <p:spPr>
            <a:xfrm flipH="1">
              <a:off x="598813" y="3340823"/>
              <a:ext cx="85537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General findings for Australia</a:t>
              </a:r>
              <a:r>
                <a:rPr lang="en-US" dirty="0"/>
                <a:t>: Expenditure declines persistently – by about 10% - following the experience of job loss.</a:t>
              </a:r>
              <a:endParaRPr lang="en-AU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AF9CA02-07EA-92DA-4409-002A8417E168}"/>
              </a:ext>
            </a:extLst>
          </p:cNvPr>
          <p:cNvSpPr txBox="1"/>
          <p:nvPr/>
        </p:nvSpPr>
        <p:spPr>
          <a:xfrm flipH="1">
            <a:off x="598813" y="1061114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thods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0C40D7-CB7D-6D9E-9E6E-414E409BB163}"/>
              </a:ext>
            </a:extLst>
          </p:cNvPr>
          <p:cNvSpPr txBox="1"/>
          <p:nvPr/>
        </p:nvSpPr>
        <p:spPr>
          <a:xfrm flipH="1">
            <a:off x="778312" y="1478195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nditure</a:t>
            </a:r>
            <a:r>
              <a:rPr lang="en-US" dirty="0"/>
              <a:t> </a:t>
            </a:r>
            <a:r>
              <a:rPr lang="en-US" b="1" dirty="0"/>
              <a:t>scars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Event study</a:t>
            </a:r>
            <a:r>
              <a:rPr lang="en-US" dirty="0"/>
              <a:t> estimate of the dynamic path of expenditure for those who lose their job, relative to those who don’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parating final and intermediate consumption</a:t>
            </a:r>
            <a:r>
              <a:rPr lang="en-US" dirty="0"/>
              <a:t>: </a:t>
            </a:r>
            <a:r>
              <a:rPr lang="en-US" dirty="0">
                <a:solidFill>
                  <a:srgbClr val="00B050"/>
                </a:solidFill>
              </a:rPr>
              <a:t>Instrumental variable approach</a:t>
            </a:r>
            <a:r>
              <a:rPr lang="en-US" dirty="0"/>
              <a:t> to estimate the expenditure decline due to working from ho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come scarring from job loss for non-benefit recipient (HILD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vent study approach – mass layoffs (PLID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5455" y="1964656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1" y="4623270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1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632" y="5477676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472632" y="1041326"/>
            <a:ext cx="118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base event studies (unless a TWFE approach is listed) use a Sun and Abraham (2020) interaction-weighted</a:t>
            </a:r>
            <a:br>
              <a:rPr lang="en-US" dirty="0"/>
            </a:br>
            <a:r>
              <a:rPr lang="en-US" dirty="0"/>
              <a:t>event study approach. The general specification is similar, with everything estimated at the </a:t>
            </a:r>
            <a:r>
              <a:rPr lang="en-US" dirty="0" err="1"/>
              <a:t>individual:cohort</a:t>
            </a:r>
            <a:r>
              <a:rPr lang="en-US" dirty="0"/>
              <a:t> level </a:t>
            </a:r>
            <a:br>
              <a:rPr lang="en-US" dirty="0"/>
            </a:br>
            <a:r>
              <a:rPr lang="en-US" dirty="0"/>
              <a:t>rather than individual level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CF1F85-B64C-7770-94E7-540B8BC4C146}"/>
              </a:ext>
            </a:extLst>
          </p:cNvPr>
          <p:cNvSpPr txBox="1"/>
          <p:nvPr/>
        </p:nvSpPr>
        <p:spPr>
          <a:xfrm>
            <a:off x="472632" y="2976215"/>
            <a:ext cx="11070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trol units are matched individuals who are either never treated or not yet treated. Both treatment and</a:t>
            </a:r>
          </a:p>
          <a:p>
            <a:r>
              <a:rPr lang="en-US" dirty="0"/>
              <a:t>control individuals require six years of tenure and to be in a firm of sufficient size (to trigger a mass layoff)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329E63-FF3A-9B01-1A1D-DF399FE5EA0A}"/>
              </a:ext>
            </a:extLst>
          </p:cNvPr>
          <p:cNvSpPr txBox="1"/>
          <p:nvPr/>
        </p:nvSpPr>
        <p:spPr>
          <a:xfrm>
            <a:off x="472631" y="3798329"/>
            <a:ext cx="112326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ss layoff is defined as a situation where a firm loses at least 30% of its staff in a given year, and does not</a:t>
            </a:r>
            <a:br>
              <a:rPr lang="en-US" dirty="0"/>
            </a:br>
            <a:r>
              <a:rPr lang="en-US" dirty="0"/>
              <a:t>rehire in the following year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Outcome of group ass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5D978-77CA-5C1C-FEE1-65C0F362C718}"/>
              </a:ext>
            </a:extLst>
          </p:cNvPr>
          <p:cNvSpPr txBox="1"/>
          <p:nvPr/>
        </p:nvSpPr>
        <p:spPr>
          <a:xfrm>
            <a:off x="698643" y="5876818"/>
            <a:ext cx="907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the coming slides we will outline how the treatment and control groups are assigned.</a:t>
            </a:r>
            <a:endParaRPr lang="en-AU"/>
          </a:p>
        </p:txBody>
      </p:sp>
      <p:pic>
        <p:nvPicPr>
          <p:cNvPr id="11" name="Picture 10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AED52A86-343A-D1EB-71DF-F2764A4D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809" y="1162050"/>
            <a:ext cx="56007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954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p-time treatment effects – wage scars</a:t>
            </a:r>
            <a:endParaRPr lang="en-AU"/>
          </a:p>
        </p:txBody>
      </p:sp>
      <p:pic>
        <p:nvPicPr>
          <p:cNvPr id="8" name="Picture 7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9C64F143-67BE-160D-44E5-6C01ED5CC7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74" y="1280818"/>
            <a:ext cx="6153150" cy="4591050"/>
          </a:xfrm>
          <a:prstGeom prst="rect">
            <a:avLst/>
          </a:prstGeom>
        </p:spPr>
      </p:pic>
      <p:pic>
        <p:nvPicPr>
          <p:cNvPr id="10" name="Picture 9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D1FC403C-D8B4-11A6-7445-B62A48C269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74" y="1280818"/>
            <a:ext cx="6153149" cy="4591049"/>
          </a:xfrm>
          <a:prstGeom prst="rect">
            <a:avLst/>
          </a:prstGeom>
        </p:spPr>
      </p:pic>
      <p:pic>
        <p:nvPicPr>
          <p:cNvPr id="15" name="Picture 14" descr="A graph of a patient's health&#10;&#10;Description automatically generated with medium confidence">
            <a:extLst>
              <a:ext uri="{FF2B5EF4-FFF2-40B4-BE49-F238E27FC236}">
                <a16:creationId xmlns:a16="http://schemas.microsoft.com/office/drawing/2014/main" id="{23801B57-F185-7FB9-2579-39B0FF46C8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575" y="1280817"/>
            <a:ext cx="6153150" cy="4591050"/>
          </a:xfrm>
          <a:prstGeom prst="rect">
            <a:avLst/>
          </a:prstGeom>
        </p:spPr>
      </p:pic>
      <p:pic>
        <p:nvPicPr>
          <p:cNvPr id="17" name="Picture 16" descr="A graph of a patient's health&#10;&#10;Description automatically generated">
            <a:extLst>
              <a:ext uri="{FF2B5EF4-FFF2-40B4-BE49-F238E27FC236}">
                <a16:creationId xmlns:a16="http://schemas.microsoft.com/office/drawing/2014/main" id="{D54DAD86-BCA4-B278-B4A1-F553E42909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604" y="1071267"/>
            <a:ext cx="6201320" cy="483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dustry result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A19EC-0E23-282C-A9EC-D5CFDDA0BFD3}"/>
              </a:ext>
            </a:extLst>
          </p:cNvPr>
          <p:cNvSpPr txBox="1"/>
          <p:nvPr/>
        </p:nvSpPr>
        <p:spPr>
          <a:xfrm>
            <a:off x="462337" y="1280818"/>
            <a:ext cx="5542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 this stage we only have high level industry results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462337" y="5538727"/>
            <a:ext cx="10714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imary industries (agriculture, mining) have a larger scars (as in Dwyer et al (2023) and IFS (2023)). </a:t>
            </a:r>
          </a:p>
          <a:p>
            <a:r>
              <a:rPr lang="en-US" dirty="0"/>
              <a:t>However, the trajectory by broad industry is similar.</a:t>
            </a:r>
            <a:endParaRPr lang="en-AU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14F99C-7DBB-3674-47DD-4981E472A4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15" y="1855846"/>
            <a:ext cx="4288788" cy="3515639"/>
          </a:xfrm>
          <a:prstGeom prst="rect">
            <a:avLst/>
          </a:prstGeom>
        </p:spPr>
      </p:pic>
      <p:pic>
        <p:nvPicPr>
          <p:cNvPr id="16" name="Picture 1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D601075-35A1-9FBC-8C90-52DDCE5CC3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855845"/>
            <a:ext cx="4398289" cy="35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688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terogeneity – Industry mobil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370417" y="5152695"/>
            <a:ext cx="101622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ment shares similar across industry groups (except primary which is much lower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ong-tenure assumptions limit treated number from sales, expand numbers from public servic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dirty="0"/>
              <a:t>Larger scaring occurs in sectors where more individuals transition to another sect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0A859-EA82-C69E-8A33-45B4252D5F16}"/>
              </a:ext>
            </a:extLst>
          </p:cNvPr>
          <p:cNvSpPr txBox="1"/>
          <p:nvPr/>
        </p:nvSpPr>
        <p:spPr>
          <a:xfrm>
            <a:off x="1615165" y="1197592"/>
            <a:ext cx="8802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Y-axis reflects industry prior to mass layoff, </a:t>
            </a:r>
            <a:r>
              <a:rPr lang="en-US" i="1" dirty="0" err="1"/>
              <a:t>colour</a:t>
            </a:r>
            <a:r>
              <a:rPr lang="en-US" i="1" dirty="0"/>
              <a:t> represents transition 5 years later.</a:t>
            </a:r>
            <a:endParaRPr lang="en-AU" i="1" dirty="0"/>
          </a:p>
        </p:txBody>
      </p:sp>
      <p:pic>
        <p:nvPicPr>
          <p:cNvPr id="8" name="Picture 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7371E449-1F9A-3FAD-F46E-F34D9CAA5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5" y="1723184"/>
            <a:ext cx="5413067" cy="3115434"/>
          </a:xfrm>
          <a:prstGeom prst="rect">
            <a:avLst/>
          </a:prstGeom>
        </p:spPr>
      </p:pic>
      <p:pic>
        <p:nvPicPr>
          <p:cNvPr id="12" name="Picture 11" descr="A graph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4D0D8DB2-7FAE-9105-6F7F-EC6952F4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72" y="1754694"/>
            <a:ext cx="5017943" cy="2924125"/>
          </a:xfrm>
          <a:prstGeom prst="rect">
            <a:avLst/>
          </a:prstGeom>
        </p:spPr>
      </p:pic>
      <p:pic>
        <p:nvPicPr>
          <p:cNvPr id="15" name="Picture 14" descr="A graph of blue squares&#10;&#10;Description automatically generated">
            <a:extLst>
              <a:ext uri="{FF2B5EF4-FFF2-40B4-BE49-F238E27FC236}">
                <a16:creationId xmlns:a16="http://schemas.microsoft.com/office/drawing/2014/main" id="{258195B1-CF4B-2D31-E9C8-FA40F7A8A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36" y="1594895"/>
            <a:ext cx="4646311" cy="35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5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come bi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778-A9CC-0EBB-EC9A-6B1500731859}"/>
              </a:ext>
            </a:extLst>
          </p:cNvPr>
          <p:cNvSpPr txBox="1"/>
          <p:nvPr/>
        </p:nvSpPr>
        <p:spPr>
          <a:xfrm>
            <a:off x="413671" y="5147261"/>
            <a:ext cx="7611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p and bottom quantile experiences the largest proportional scarring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B2A33-9116-3BB8-81E6-FAC3713EA8C5}"/>
              </a:ext>
            </a:extLst>
          </p:cNvPr>
          <p:cNvSpPr txBox="1"/>
          <p:nvPr/>
        </p:nvSpPr>
        <p:spPr>
          <a:xfrm>
            <a:off x="413671" y="5855578"/>
            <a:ext cx="842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ffers from US results of similar distributional scarring (Rose &amp; </a:t>
            </a:r>
            <a:r>
              <a:rPr lang="en-NZ" dirty="0"/>
              <a:t>Shem-Tov 2023).</a:t>
            </a:r>
            <a:endParaRPr lang="en-AU" dirty="0"/>
          </a:p>
        </p:txBody>
      </p:sp>
      <p:pic>
        <p:nvPicPr>
          <p:cNvPr id="12" name="Picture 11" descr="A graph of a graph showing the amount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D7032F44-020E-9642-AB06-62689914D8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6" y="1137682"/>
            <a:ext cx="5695313" cy="3773365"/>
          </a:xfrm>
          <a:prstGeom prst="rect">
            <a:avLst/>
          </a:prstGeom>
        </p:spPr>
      </p:pic>
      <p:pic>
        <p:nvPicPr>
          <p:cNvPr id="16" name="Picture 15" descr="A graph of a graph showing the amount of a scar that has been stacked&#10;&#10;Description automatically generated with medium confidence">
            <a:extLst>
              <a:ext uri="{FF2B5EF4-FFF2-40B4-BE49-F238E27FC236}">
                <a16:creationId xmlns:a16="http://schemas.microsoft.com/office/drawing/2014/main" id="{11ABF242-1F1C-E09C-92A8-06920F0744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40" y="1133817"/>
            <a:ext cx="5695313" cy="386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1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5F921-F142-4E95-A802-C4EBABE6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A8ADCA-3545-CABA-9F0D-69B55D1287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BEFA64-5E4A-F41E-1DEB-725BE4AD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70DA15-EB03-95DF-6C97-DCBAB971837E}"/>
              </a:ext>
            </a:extLst>
          </p:cNvPr>
          <p:cNvSpPr txBox="1"/>
          <p:nvPr/>
        </p:nvSpPr>
        <p:spPr>
          <a:xfrm flipH="1">
            <a:off x="598813" y="1774160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tistic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1F1037-FD3C-4BCB-CEB8-25D06CE72EF0}"/>
              </a:ext>
            </a:extLst>
          </p:cNvPr>
          <p:cNvSpPr txBox="1"/>
          <p:nvPr/>
        </p:nvSpPr>
        <p:spPr>
          <a:xfrm flipH="1">
            <a:off x="760384" y="2235825"/>
            <a:ext cx="99987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data between 2005 and 20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ed on individuals aged between 25 and 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diture is non-durable spending, </a:t>
            </a:r>
            <a:r>
              <a:rPr lang="en-US" dirty="0" err="1"/>
              <a:t>annualised</a:t>
            </a:r>
            <a:r>
              <a:rPr lang="en-US" dirty="0"/>
              <a:t>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Job loss</a:t>
            </a:r>
            <a:r>
              <a:rPr lang="en-US" dirty="0"/>
              <a:t> defined as a transition from employment to unemployment (not NILF) for the </a:t>
            </a:r>
            <a:r>
              <a:rPr lang="en-US" b="1" dirty="0"/>
              <a:t>head of the household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636 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hen comparing benefit recipients to non-recipi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Recipients:  Those who receive JSP/NSA in the year of first job loss – 178 individua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on-recipients:  Those who do not receive any first income support payment (includes DSP) – 434 individuals.</a:t>
            </a:r>
            <a:endParaRPr lang="en-AU" dirty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ain estimates use an unbalanced pan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A panel balanced for the 9 years around event time gives similar results (</a:t>
            </a:r>
            <a:r>
              <a:rPr lang="en-AU" dirty="0">
                <a:hlinkClick r:id="rId2" action="ppaction://hlinksldjump"/>
              </a:rPr>
              <a:t>Appendix</a:t>
            </a:r>
            <a:r>
              <a:rPr lang="en-AU" dirty="0"/>
              <a:t>)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694955-182E-751A-B318-CB59FF3DFD53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03343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82994-9224-09C2-7F87-93ECA8FF6F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82111-9AA6-444F-FE0C-AF016CBC99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A00600-9B15-0BAC-98FE-332C3C13C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BE1726-E04C-008E-2272-A775EFC59822}"/>
              </a:ext>
            </a:extLst>
          </p:cNvPr>
          <p:cNvSpPr txBox="1"/>
          <p:nvPr/>
        </p:nvSpPr>
        <p:spPr>
          <a:xfrm flipH="1">
            <a:off x="598813" y="10354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stimates use the Household, Income and Labour Dynamics in Australia (HILDA) survey.</a:t>
            </a:r>
            <a:endParaRPr lang="en-AU" dirty="0"/>
          </a:p>
        </p:txBody>
      </p:sp>
      <p:pic>
        <p:nvPicPr>
          <p:cNvPr id="7" name="Picture 6" descr="A graph of a graph with blue lines&#10;&#10;Description automatically generated with medium confidence">
            <a:extLst>
              <a:ext uri="{FF2B5EF4-FFF2-40B4-BE49-F238E27FC236}">
                <a16:creationId xmlns:a16="http://schemas.microsoft.com/office/drawing/2014/main" id="{438E566F-BF8F-CE92-C0C5-434C82D77F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037" y="2048679"/>
            <a:ext cx="560070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32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020C4-FEA2-2479-7DE9-CD0ED551D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5CCAE-926C-013A-D76E-B99ABA377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4920FC-53F9-F1B1-F185-F501248B4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32663"/>
            <a:ext cx="11459365" cy="700597"/>
          </a:xfrm>
        </p:spPr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7F913-2011-0C9D-DC12-0EF58212E907}"/>
              </a:ext>
            </a:extLst>
          </p:cNvPr>
          <p:cNvSpPr txBox="1"/>
          <p:nvPr/>
        </p:nvSpPr>
        <p:spPr>
          <a:xfrm flipH="1">
            <a:off x="598813" y="637627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/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EB36F35-F0C7-8B21-3A46-976D6C8B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899" y="111569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/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AU" dirty="0"/>
                  <a:t>reflects the log consumption of individual </a:t>
                </a:r>
                <a:r>
                  <a:rPr lang="en-AU" i="1" dirty="0" err="1"/>
                  <a:t>i</a:t>
                </a:r>
                <a:r>
                  <a:rPr lang="en-AU" i="1" dirty="0"/>
                  <a:t> </a:t>
                </a:r>
                <a:r>
                  <a:rPr lang="en-AU" dirty="0"/>
                  <a:t>at time </a:t>
                </a:r>
                <a:r>
                  <a:rPr lang="en-AU" i="1" dirty="0"/>
                  <a:t>t</a:t>
                </a:r>
                <a:r>
                  <a:rPr lang="en-AU" dirty="0"/>
                  <a:t>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 are individual and time fixed effects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s an idiosyncratic error term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re a set of time varying individual characteristics: age squared, square root of number of persons </a:t>
                </a:r>
                <a:br>
                  <a:rPr lang="en-AU" dirty="0"/>
                </a:br>
                <a:r>
                  <a:rPr lang="en-AU" dirty="0"/>
                  <a:t>in household, duration of unemployment, other (non-first tier) transfers, number of children, relationship,</a:t>
                </a:r>
                <a:br>
                  <a:rPr lang="en-AU" dirty="0"/>
                </a:br>
                <a:r>
                  <a:rPr lang="en-AU" dirty="0"/>
                  <a:t>real personal income.</a:t>
                </a:r>
                <a:br>
                  <a:rPr lang="en-AU" dirty="0"/>
                </a:b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𝑔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𝑘</m:t>
                    </m:r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AU" dirty="0"/>
                  <a:t> is an indicator variable that takes a value of 1 if the </a:t>
                </a:r>
                <a:r>
                  <a:rPr lang="en-AU" i="1" dirty="0" err="1"/>
                  <a:t>gth</a:t>
                </a:r>
                <a:r>
                  <a:rPr lang="en-AU" dirty="0"/>
                  <a:t> cohort is </a:t>
                </a:r>
                <a:r>
                  <a:rPr lang="en-AU" i="1" dirty="0"/>
                  <a:t>k</a:t>
                </a:r>
                <a:r>
                  <a:rPr lang="en-AU" dirty="0"/>
                  <a:t> periods away from</a:t>
                </a:r>
                <a:br>
                  <a:rPr lang="en-AU" dirty="0"/>
                </a:br>
                <a:r>
                  <a:rPr lang="en-AU" dirty="0"/>
                  <a:t>treatment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AU" dirty="0"/>
                  <a:t> is an indicator that takes a value of 1 is if this is a treated individual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This is estimated using an interaction weighted estimator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An effect is estimated for each cohort (year of treatment), which are then aggregated up based</a:t>
                </a:r>
                <a:br>
                  <a:rPr lang="en-AU" dirty="0"/>
                </a:br>
                <a:r>
                  <a:rPr lang="en-AU" dirty="0"/>
                  <a:t>on the cohort size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en-AU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Use </a:t>
                </a:r>
                <a:r>
                  <a:rPr lang="en-AU" dirty="0" err="1"/>
                  <a:t>sunab</a:t>
                </a:r>
                <a:r>
                  <a:rPr lang="en-AU" dirty="0"/>
                  <a:t> function in R, so control group is made up of both never and not-yet treated.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248D5F3-99E0-12D9-B3B3-9604FD7D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111" y="2101022"/>
                <a:ext cx="11209287" cy="4524315"/>
              </a:xfrm>
              <a:prstGeom prst="rect">
                <a:avLst/>
              </a:prstGeom>
              <a:blipFill>
                <a:blip r:embed="rId3"/>
                <a:stretch>
                  <a:fillRect l="-326" t="-809" b="-121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23041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032FE-CF0D-F766-D42B-397FFC7227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A61E0-448B-D5B1-61EA-A68AF1E39E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6E6ABE-EB05-8D67-FED7-0C8E2142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55246-F57A-9173-2ED1-0B8DD671EA4A}"/>
              </a:ext>
            </a:extLst>
          </p:cNvPr>
          <p:cNvSpPr txBox="1"/>
          <p:nvPr/>
        </p:nvSpPr>
        <p:spPr>
          <a:xfrm flipH="1">
            <a:off x="598813" y="240874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terpretation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19316F-6EA8-A52F-02F7-2A74F09BEB88}"/>
              </a:ext>
            </a:extLst>
          </p:cNvPr>
          <p:cNvSpPr txBox="1"/>
          <p:nvPr/>
        </p:nvSpPr>
        <p:spPr>
          <a:xfrm flipH="1">
            <a:off x="751419" y="2781158"/>
            <a:ext cx="99987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job loss an exogenous event. </a:t>
            </a:r>
            <a:r>
              <a:rPr lang="en-US" b="1" dirty="0"/>
              <a:t>No</a:t>
            </a:r>
            <a:r>
              <a:rPr lang="en-US" dirty="0"/>
              <a:t>. This is not a causal estimate of the consumption decline from job loss. [Note: Involuntary job loss does lead to larger expenditure declines]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does not tell us how consumption would change if the benefit rate changed (i.e. Gruber 1997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does tell us that, given the current benefit structure, individuals who transition into job loss reduce their </a:t>
            </a:r>
            <a:r>
              <a:rPr lang="en-US" b="1" dirty="0"/>
              <a:t>expenditure</a:t>
            </a:r>
            <a:r>
              <a:rPr lang="en-US" dirty="0"/>
              <a:t> by this amount – on aver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urpose</a:t>
            </a:r>
            <a:r>
              <a:rPr lang="en-US" dirty="0"/>
              <a:t>: If there was uninsurance we would expect to see a large </a:t>
            </a:r>
            <a:r>
              <a:rPr lang="en-US" b="1" dirty="0"/>
              <a:t>consumption</a:t>
            </a:r>
            <a:r>
              <a:rPr lang="en-US" dirty="0"/>
              <a:t> drop around job lo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benefit recipients this speaks to how much they are insured included the benefit pay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r non-recipients this speaks to the role of targeting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DE7B55-EC70-2A20-BB60-C14A1015BA0F}"/>
              </a:ext>
            </a:extLst>
          </p:cNvPr>
          <p:cNvSpPr txBox="1"/>
          <p:nvPr/>
        </p:nvSpPr>
        <p:spPr>
          <a:xfrm flipH="1">
            <a:off x="598813" y="1035496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ggered Event Study (a la Sun and Abraham 2021)</a:t>
            </a:r>
            <a:endParaRPr lang="en-A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/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1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50A61025-AF1D-1C8A-8F27-71FF2A879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402" y="1449990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91425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897</TotalTime>
  <Words>2634</Words>
  <Application>Microsoft Office PowerPoint</Application>
  <PresentationFormat>Widescreen</PresentationFormat>
  <Paragraphs>281</Paragraphs>
  <Slides>4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nsumption, job loss, and benefits</vt:lpstr>
      <vt:lpstr>Motivation: Reform for “unemployment insurance”</vt:lpstr>
      <vt:lpstr>Insurance and optimal benefits</vt:lpstr>
      <vt:lpstr>Summary</vt:lpstr>
      <vt:lpstr>PowerPoint Presentation</vt:lpstr>
      <vt:lpstr>Data</vt:lpstr>
      <vt:lpstr>Data</vt:lpstr>
      <vt:lpstr>Approach</vt:lpstr>
      <vt:lpstr>Approach</vt:lpstr>
      <vt:lpstr>Why would expenditure change after job loss?</vt:lpstr>
      <vt:lpstr>Expenditure Scar</vt:lpstr>
      <vt:lpstr>Type of unemployment scar</vt:lpstr>
      <vt:lpstr>PowerPoint Presentation</vt:lpstr>
      <vt:lpstr>Individuals, government, determine whether you receive income support</vt:lpstr>
      <vt:lpstr>Benefit type</vt:lpstr>
      <vt:lpstr>Benefit type: Partnership status</vt:lpstr>
      <vt:lpstr>PowerPoint Presentation</vt:lpstr>
      <vt:lpstr>Why would expenditure change after job loss?</vt:lpstr>
      <vt:lpstr>Non-recipients and the role of employment</vt:lpstr>
      <vt:lpstr>Work related expenses</vt:lpstr>
      <vt:lpstr>Work related expenses</vt:lpstr>
      <vt:lpstr>COVID Working from home</vt:lpstr>
      <vt:lpstr>First stage</vt:lpstr>
      <vt:lpstr>COVID Working from home</vt:lpstr>
      <vt:lpstr>COVID Working from home</vt:lpstr>
      <vt:lpstr>PowerPoint Presentation</vt:lpstr>
      <vt:lpstr>Key lessons</vt:lpstr>
      <vt:lpstr>PowerPoint Presentation</vt:lpstr>
      <vt:lpstr>Background information</vt:lpstr>
      <vt:lpstr>PowerPoint Presentation</vt:lpstr>
      <vt:lpstr>Not-yet treated</vt:lpstr>
      <vt:lpstr>Balanced panel</vt:lpstr>
      <vt:lpstr>PowerPoint Presentation</vt:lpstr>
      <vt:lpstr>Insurance and labour supply</vt:lpstr>
      <vt:lpstr>Do beneficiaries “bunch” at the abatement threshold?</vt:lpstr>
      <vt:lpstr>Extensive Margin: COVID Benefit Changes</vt:lpstr>
      <vt:lpstr>Extensive Margin: COVID Benefit Changes</vt:lpstr>
      <vt:lpstr>PowerPoint Presentation</vt:lpstr>
      <vt:lpstr>Income scarring from job loss (HILDA)</vt:lpstr>
      <vt:lpstr>Income scarring from job loss for non-benefit recipient (HILDA)</vt:lpstr>
      <vt:lpstr>Event study approach – mass layoffs (PLIDA)</vt:lpstr>
      <vt:lpstr>Outcome of group assignment</vt:lpstr>
      <vt:lpstr>Group-time treatment effects – wage scars</vt:lpstr>
      <vt:lpstr>Heterogeneity – Industry results</vt:lpstr>
      <vt:lpstr>Heterogeneity – Industry mobility</vt:lpstr>
      <vt:lpstr>Heterogeneity – Income bi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63</cp:revision>
  <dcterms:created xsi:type="dcterms:W3CDTF">2024-01-15T03:02:27Z</dcterms:created>
  <dcterms:modified xsi:type="dcterms:W3CDTF">2024-11-19T05:3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